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399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00000"/>
    <a:srgbClr val="444444"/>
    <a:srgbClr val="F6F6F6"/>
    <a:srgbClr val="BDBDBD"/>
    <a:srgbClr val="727272"/>
    <a:srgbClr val="E5E5E5"/>
    <a:srgbClr val="D9D9D9"/>
    <a:srgbClr val="EB0000"/>
    <a:srgbClr val="C60018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S)" userId="fd3b2067-2981-4ad8-bf3a-d2e1004e4fa8" providerId="ADAL" clId="{295825D0-A81A-454A-B86E-FEA0EEF6ACCD}"/>
    <pc:docChg chg="custSel modSld">
      <pc:chgData name="Weigel Stefan (PAR-ES)" userId="fd3b2067-2981-4ad8-bf3a-d2e1004e4fa8" providerId="ADAL" clId="{295825D0-A81A-454A-B86E-FEA0EEF6ACCD}" dt="2023-01-25T14:29:08.967" v="12" actId="27918"/>
      <pc:docMkLst>
        <pc:docMk/>
      </pc:docMkLst>
      <pc:sldChg chg="modSp mod">
        <pc:chgData name="Weigel Stefan (PAR-ES)" userId="fd3b2067-2981-4ad8-bf3a-d2e1004e4fa8" providerId="ADAL" clId="{295825D0-A81A-454A-B86E-FEA0EEF6ACCD}" dt="2023-01-25T14:29:08.967" v="12" actId="27918"/>
        <pc:sldMkLst>
          <pc:docMk/>
          <pc:sldMk cId="2338066774" sldId="399"/>
        </pc:sldMkLst>
        <pc:spChg chg="mod">
          <ac:chgData name="Weigel Stefan (PAR-ES)" userId="fd3b2067-2981-4ad8-bf3a-d2e1004e4fa8" providerId="ADAL" clId="{295825D0-A81A-454A-B86E-FEA0EEF6ACCD}" dt="2023-01-25T14:28:32.984" v="2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295825D0-A81A-454A-B86E-FEA0EEF6ACCD}" dt="2023-01-25T14:29:00.351" v="9" actId="20577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S)" userId="fd3b2067-2981-4ad8-bf3a-d2e1004e4fa8" providerId="ADAL" clId="{295825D0-A81A-454A-B86E-FEA0EEF6ACCD}" dt="2023-01-25T14:28:56.679" v="3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3F82E127-1ED1-4162-A039-B6321E3D039C}"/>
    <pc:docChg chg="modSld">
      <pc:chgData name="Meyer Raphael (PAR-ES)" userId="79615dfe-ed48-4e74-a40f-4f7b034c1c27" providerId="ADAL" clId="{3F82E127-1ED1-4162-A039-B6321E3D039C}" dt="2022-01-17T14:03:49.595" v="8" actId="20577"/>
      <pc:docMkLst>
        <pc:docMk/>
      </pc:docMkLst>
      <pc:sldChg chg="modSp mod">
        <pc:chgData name="Meyer Raphael (PAR-ES)" userId="79615dfe-ed48-4e74-a40f-4f7b034c1c27" providerId="ADAL" clId="{3F82E127-1ED1-4162-A039-B6321E3D039C}" dt="2022-01-17T14:03:49.595" v="8" actId="20577"/>
        <pc:sldMkLst>
          <pc:docMk/>
          <pc:sldMk cId="179071578" sldId="400"/>
        </pc:sldMkLst>
        <pc:spChg chg="mod">
          <ac:chgData name="Meyer Raphael (PAR-ES)" userId="79615dfe-ed48-4e74-a40f-4f7b034c1c27" providerId="ADAL" clId="{3F82E127-1ED1-4162-A039-B6321E3D039C}" dt="2022-01-17T14:02:36.178" v="2" actId="20577"/>
          <ac:spMkLst>
            <pc:docMk/>
            <pc:sldMk cId="179071578" sldId="40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F82E127-1ED1-4162-A039-B6321E3D039C}" dt="2022-01-17T14:03:49.595" v="8" actId="20577"/>
          <ac:spMkLst>
            <pc:docMk/>
            <pc:sldMk cId="179071578" sldId="400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Weigel Stefan (PAR-EPS)" userId="fd3b2067-2981-4ad8-bf3a-d2e1004e4fa8" providerId="ADAL" clId="{B77D2995-3195-470B-8848-B0FCB037AA53}"/>
    <pc:docChg chg="custSel modSld">
      <pc:chgData name="Weigel Stefan (PAR-EPS)" userId="fd3b2067-2981-4ad8-bf3a-d2e1004e4fa8" providerId="ADAL" clId="{B77D2995-3195-470B-8848-B0FCB037AA53}" dt="2024-01-10T18:58:18.017" v="15" actId="20577"/>
      <pc:docMkLst>
        <pc:docMk/>
      </pc:docMkLst>
      <pc:sldChg chg="modSp mod">
        <pc:chgData name="Weigel Stefan (PAR-EPS)" userId="fd3b2067-2981-4ad8-bf3a-d2e1004e4fa8" providerId="ADAL" clId="{B77D2995-3195-470B-8848-B0FCB037AA53}" dt="2024-01-10T18:58:18.017" v="15" actId="20577"/>
        <pc:sldMkLst>
          <pc:docMk/>
          <pc:sldMk cId="2338066774" sldId="399"/>
        </pc:sldMkLst>
        <pc:spChg chg="mod">
          <ac:chgData name="Weigel Stefan (PAR-EPS)" userId="fd3b2067-2981-4ad8-bf3a-d2e1004e4fa8" providerId="ADAL" clId="{B77D2995-3195-470B-8848-B0FCB037AA53}" dt="2024-01-10T18:56:04.611" v="1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B77D2995-3195-470B-8848-B0FCB037AA53}" dt="2024-01-10T18:58:18.017" v="15" actId="20577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B77D2995-3195-470B-8848-B0FCB037AA53}" dt="2024-01-10T18:56:09.954" v="2" actId="255"/>
          <ac:spMkLst>
            <pc:docMk/>
            <pc:sldMk cId="2338066774" sldId="399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0BE059E5-9B00-412E-A1C8-3B1900FD7999}"/>
    <pc:docChg chg="addSld delSld">
      <pc:chgData name="Meyer Raphael (PAR-ES)" userId="79615dfe-ed48-4e74-a40f-4f7b034c1c27" providerId="ADAL" clId="{0BE059E5-9B00-412E-A1C8-3B1900FD7999}" dt="2022-01-17T13:59:13.933" v="7" actId="2890"/>
      <pc:docMkLst>
        <pc:docMk/>
      </pc:docMkLst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0BE059E5-9B00-412E-A1C8-3B1900FD7999}" dt="2022-01-17T13:59:04.964" v="4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0BE059E5-9B00-412E-A1C8-3B1900FD7999}" dt="2022-01-17T13:57:43.341" v="3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0BE059E5-9B00-412E-A1C8-3B1900FD7999}" dt="2022-01-17T13:57:36.682" v="1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0BE059E5-9B00-412E-A1C8-3B1900FD7999}" dt="2022-01-17T13:57:39.788" v="2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0BE059E5-9B00-412E-A1C8-3B1900FD7999}" dt="2022-01-17T13:57:24.005" v="0" actId="47"/>
        <pc:sldMkLst>
          <pc:docMk/>
          <pc:sldMk cId="2131180641" sldId="398"/>
        </pc:sldMkLst>
      </pc:sldChg>
      <pc:sldChg chg="add">
        <pc:chgData name="Meyer Raphael (PAR-ES)" userId="79615dfe-ed48-4e74-a40f-4f7b034c1c27" providerId="ADAL" clId="{0BE059E5-9B00-412E-A1C8-3B1900FD7999}" dt="2022-01-17T13:59:12.049" v="5" actId="2890"/>
        <pc:sldMkLst>
          <pc:docMk/>
          <pc:sldMk cId="179071578" sldId="400"/>
        </pc:sldMkLst>
      </pc:sldChg>
      <pc:sldChg chg="add">
        <pc:chgData name="Meyer Raphael (PAR-ES)" userId="79615dfe-ed48-4e74-a40f-4f7b034c1c27" providerId="ADAL" clId="{0BE059E5-9B00-412E-A1C8-3B1900FD7999}" dt="2022-01-17T13:59:13.214" v="6" actId="2890"/>
        <pc:sldMkLst>
          <pc:docMk/>
          <pc:sldMk cId="2084493369" sldId="401"/>
        </pc:sldMkLst>
      </pc:sldChg>
      <pc:sldChg chg="add">
        <pc:chgData name="Meyer Raphael (PAR-ES)" userId="79615dfe-ed48-4e74-a40f-4f7b034c1c27" providerId="ADAL" clId="{0BE059E5-9B00-412E-A1C8-3B1900FD7999}" dt="2022-01-17T13:59:13.933" v="7" actId="2890"/>
        <pc:sldMkLst>
          <pc:docMk/>
          <pc:sldMk cId="1008431792" sldId="402"/>
        </pc:sldMkLst>
      </pc:sldChg>
      <pc:sldMasterChg chg="delSldLayout">
        <pc:chgData name="Meyer Raphael (PAR-ES)" userId="79615dfe-ed48-4e74-a40f-4f7b034c1c27" providerId="ADAL" clId="{0BE059E5-9B00-412E-A1C8-3B1900FD7999}" dt="2022-01-17T13:57:43.341" v="3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0BE059E5-9B00-412E-A1C8-3B1900FD7999}" dt="2022-01-17T13:57:43.341" v="3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6E4AF49B-A06A-4787-92FE-8CB0B1971DCB}"/>
    <pc:docChg chg="delSld">
      <pc:chgData name="Meyer Raphael (PAR-ES)" userId="79615dfe-ed48-4e74-a40f-4f7b034c1c27" providerId="ADAL" clId="{6E4AF49B-A06A-4787-92FE-8CB0B1971DCB}" dt="2022-03-03T14:54:34.669" v="0" actId="47"/>
      <pc:docMkLst>
        <pc:docMk/>
      </pc:docMkLst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79071578" sldId="400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2084493369" sldId="401"/>
        </pc:sldMkLst>
      </pc:sldChg>
      <pc:sldChg chg="del">
        <pc:chgData name="Meyer Raphael (PAR-ES)" userId="79615dfe-ed48-4e74-a40f-4f7b034c1c27" providerId="ADAL" clId="{6E4AF49B-A06A-4787-92FE-8CB0B1971DCB}" dt="2022-03-03T14:54:34.669" v="0" actId="47"/>
        <pc:sldMkLst>
          <pc:docMk/>
          <pc:sldMk cId="1008431792" sldId="402"/>
        </pc:sldMkLst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C61A14DB-895F-44C0-BAA5-C5DC90453F34}"/>
    <pc:docChg chg="modSld">
      <pc:chgData name="Weigel Stefan (PAR-EPS)" userId="fd3b2067-2981-4ad8-bf3a-d2e1004e4fa8" providerId="ADAL" clId="{C61A14DB-895F-44C0-BAA5-C5DC90453F34}" dt="2025-02-24T08:21:38.066" v="4" actId="27918"/>
      <pc:docMkLst>
        <pc:docMk/>
      </pc:docMkLst>
      <pc:sldChg chg="modSp mod">
        <pc:chgData name="Weigel Stefan (PAR-EPS)" userId="fd3b2067-2981-4ad8-bf3a-d2e1004e4fa8" providerId="ADAL" clId="{C61A14DB-895F-44C0-BAA5-C5DC90453F34}" dt="2025-02-24T08:21:38.066" v="4" actId="27918"/>
        <pc:sldMkLst>
          <pc:docMk/>
          <pc:sldMk cId="2338066774" sldId="399"/>
        </pc:sldMkLst>
        <pc:spChg chg="mod">
          <ac:chgData name="Weigel Stefan (PAR-EPS)" userId="fd3b2067-2981-4ad8-bf3a-d2e1004e4fa8" providerId="ADAL" clId="{C61A14DB-895F-44C0-BAA5-C5DC90453F34}" dt="2025-02-24T08:21:21.180" v="1" actId="20577"/>
          <ac:spMkLst>
            <pc:docMk/>
            <pc:sldMk cId="2338066774" sldId="399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Weigel Stefan (PAR-EPS)" userId="fd3b2067-2981-4ad8-bf3a-d2e1004e4fa8" providerId="ADAL" clId="{AC4C394C-C6D1-4359-884F-54EFED3D3013}"/>
    <pc:docChg chg="modSld">
      <pc:chgData name="Weigel Stefan (PAR-EPS)" userId="fd3b2067-2981-4ad8-bf3a-d2e1004e4fa8" providerId="ADAL" clId="{AC4C394C-C6D1-4359-884F-54EFED3D3013}" dt="2024-02-01T17:24:05.524" v="5" actId="27918"/>
      <pc:docMkLst>
        <pc:docMk/>
      </pc:docMkLst>
      <pc:sldChg chg="mod">
        <pc:chgData name="Weigel Stefan (PAR-EPS)" userId="fd3b2067-2981-4ad8-bf3a-d2e1004e4fa8" providerId="ADAL" clId="{AC4C394C-C6D1-4359-884F-54EFED3D3013}" dt="2024-02-01T17:24:05.524" v="5" actId="27918"/>
        <pc:sldMkLst>
          <pc:docMk/>
          <pc:sldMk cId="2338066774" sldId="399"/>
        </pc:sldMkLst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Weigel Stefan (PAR-EPS)" userId="fd3b2067-2981-4ad8-bf3a-d2e1004e4fa8" providerId="ADAL" clId="{33009785-6D28-478A-94B3-830A34B059B0}"/>
    <pc:docChg chg="modSld">
      <pc:chgData name="Weigel Stefan (PAR-EPS)" userId="fd3b2067-2981-4ad8-bf3a-d2e1004e4fa8" providerId="ADAL" clId="{33009785-6D28-478A-94B3-830A34B059B0}" dt="2024-01-11T16:54:23.107" v="5" actId="27918"/>
      <pc:docMkLst>
        <pc:docMk/>
      </pc:docMkLst>
      <pc:sldChg chg="mod">
        <pc:chgData name="Weigel Stefan (PAR-EPS)" userId="fd3b2067-2981-4ad8-bf3a-d2e1004e4fa8" providerId="ADAL" clId="{33009785-6D28-478A-94B3-830A34B059B0}" dt="2024-01-11T16:54:23.107" v="5" actId="27918"/>
        <pc:sldMkLst>
          <pc:docMk/>
          <pc:sldMk cId="2338066774" sldId="399"/>
        </pc:sldMkLst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Weigel Stefan (PAR-ES)" userId="fd3b2067-2981-4ad8-bf3a-d2e1004e4fa8" providerId="ADAL" clId="{A1A3D639-3142-44F7-B597-0CB5579B85F0}"/>
    <pc:docChg chg="modSld">
      <pc:chgData name="Weigel Stefan (PAR-ES)" userId="fd3b2067-2981-4ad8-bf3a-d2e1004e4fa8" providerId="ADAL" clId="{A1A3D639-3142-44F7-B597-0CB5579B85F0}" dt="2023-01-25T14:24:56.924" v="94" actId="692"/>
      <pc:docMkLst>
        <pc:docMk/>
      </pc:docMkLst>
      <pc:sldChg chg="modSp mod">
        <pc:chgData name="Weigel Stefan (PAR-ES)" userId="fd3b2067-2981-4ad8-bf3a-d2e1004e4fa8" providerId="ADAL" clId="{A1A3D639-3142-44F7-B597-0CB5579B85F0}" dt="2023-01-25T14:24:56.924" v="94" actId="692"/>
        <pc:sldMkLst>
          <pc:docMk/>
          <pc:sldMk cId="2338066774" sldId="399"/>
        </pc:sldMkLst>
        <pc:spChg chg="mod">
          <ac:chgData name="Weigel Stefan (PAR-ES)" userId="fd3b2067-2981-4ad8-bf3a-d2e1004e4fa8" providerId="ADAL" clId="{A1A3D639-3142-44F7-B597-0CB5579B85F0}" dt="2023-01-16T16:07:41.308" v="93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A1A3D639-3142-44F7-B597-0CB5579B85F0}" dt="2023-01-16T16:07:36.601" v="91" actId="1076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S)" userId="fd3b2067-2981-4ad8-bf3a-d2e1004e4fa8" providerId="ADAL" clId="{A1A3D639-3142-44F7-B597-0CB5579B85F0}" dt="2023-01-16T16:07:27.343" v="90" actId="1076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Weigel Stefan (PAR-ES)" userId="fd3b2067-2981-4ad8-bf3a-d2e1004e4fa8" providerId="ADAL" clId="{A1A3D639-3142-44F7-B597-0CB5579B85F0}" dt="2023-01-25T14:24:56.924" v="94" actId="692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EB5DEF9F-F706-47F6-B6EB-2038FBF844C5}"/>
    <pc:docChg chg="custSel delSld modSld">
      <pc:chgData name="Meyer Raphael (PAR-ES)" userId="79615dfe-ed48-4e74-a40f-4f7b034c1c27" providerId="ADAL" clId="{EB5DEF9F-F706-47F6-B6EB-2038FBF844C5}" dt="2022-01-17T15:29:07.310" v="33" actId="47"/>
      <pc:docMkLst>
        <pc:docMk/>
      </pc:docMkLst>
      <pc:sldChg chg="del">
        <pc:chgData name="Meyer Raphael (PAR-ES)" userId="79615dfe-ed48-4e74-a40f-4f7b034c1c27" providerId="ADAL" clId="{EB5DEF9F-F706-47F6-B6EB-2038FBF844C5}" dt="2022-01-17T15:29:07.310" v="33" actId="47"/>
        <pc:sldMkLst>
          <pc:docMk/>
          <pc:sldMk cId="2505455628" sldId="394"/>
        </pc:sldMkLst>
      </pc:sldChg>
      <pc:sldChg chg="modSp mod">
        <pc:chgData name="Meyer Raphael (PAR-ES)" userId="79615dfe-ed48-4e74-a40f-4f7b034c1c27" providerId="ADAL" clId="{EB5DEF9F-F706-47F6-B6EB-2038FBF844C5}" dt="2022-01-17T15:25:25.967" v="17" actId="20577"/>
        <pc:sldMkLst>
          <pc:docMk/>
          <pc:sldMk cId="2084493369" sldId="401"/>
        </pc:sldMkLst>
        <pc:spChg chg="mod">
          <ac:chgData name="Meyer Raphael (PAR-ES)" userId="79615dfe-ed48-4e74-a40f-4f7b034c1c27" providerId="ADAL" clId="{EB5DEF9F-F706-47F6-B6EB-2038FBF844C5}" dt="2022-01-17T15:23:10.622" v="2" actId="20577"/>
          <ac:spMkLst>
            <pc:docMk/>
            <pc:sldMk cId="2084493369" sldId="40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4:57.509" v="14" actId="20577"/>
          <ac:spMkLst>
            <pc:docMk/>
            <pc:sldMk cId="2084493369" sldId="401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5:25.967" v="17" actId="20577"/>
          <ac:spMkLst>
            <pc:docMk/>
            <pc:sldMk cId="2084493369" sldId="401"/>
            <ac:spMk id="11" creationId="{84F82B92-ACCD-41AC-8B9B-F49F946956E6}"/>
          </ac:spMkLst>
        </pc:spChg>
      </pc:sldChg>
      <pc:sldChg chg="modSp mod">
        <pc:chgData name="Meyer Raphael (PAR-ES)" userId="79615dfe-ed48-4e74-a40f-4f7b034c1c27" providerId="ADAL" clId="{EB5DEF9F-F706-47F6-B6EB-2038FBF844C5}" dt="2022-01-17T15:28:38.821" v="32" actId="20577"/>
        <pc:sldMkLst>
          <pc:docMk/>
          <pc:sldMk cId="1008431792" sldId="402"/>
        </pc:sldMkLst>
        <pc:spChg chg="mod">
          <ac:chgData name="Meyer Raphael (PAR-ES)" userId="79615dfe-ed48-4e74-a40f-4f7b034c1c27" providerId="ADAL" clId="{EB5DEF9F-F706-47F6-B6EB-2038FBF844C5}" dt="2022-01-17T15:27:38.747" v="20" actId="20577"/>
          <ac:spMkLst>
            <pc:docMk/>
            <pc:sldMk cId="1008431792" sldId="40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B5DEF9F-F706-47F6-B6EB-2038FBF844C5}" dt="2022-01-17T15:28:18.017" v="29" actId="20577"/>
          <ac:spMkLst>
            <pc:docMk/>
            <pc:sldMk cId="1008431792" sldId="402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EB5DEF9F-F706-47F6-B6EB-2038FBF844C5}" dt="2022-01-17T15:28:38.821" v="32" actId="20577"/>
          <ac:spMkLst>
            <pc:docMk/>
            <pc:sldMk cId="1008431792" sldId="402"/>
            <ac:spMk id="11" creationId="{84F82B92-ACCD-41AC-8B9B-F49F946956E6}"/>
          </ac:spMkLst>
        </pc:sp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Weigel Stefan (PAR-EPS)" userId="fd3b2067-2981-4ad8-bf3a-d2e1004e4fa8" providerId="ADAL" clId="{0BE7EC3F-D751-49C8-AC28-857380C1B216}"/>
    <pc:docChg chg="modSld">
      <pc:chgData name="Weigel Stefan (PAR-EPS)" userId="fd3b2067-2981-4ad8-bf3a-d2e1004e4fa8" providerId="ADAL" clId="{0BE7EC3F-D751-49C8-AC28-857380C1B216}" dt="2024-04-22T11:48:30.337" v="45" actId="207"/>
      <pc:docMkLst>
        <pc:docMk/>
      </pc:docMkLst>
      <pc:sldChg chg="modSp mod">
        <pc:chgData name="Weigel Stefan (PAR-EPS)" userId="fd3b2067-2981-4ad8-bf3a-d2e1004e4fa8" providerId="ADAL" clId="{0BE7EC3F-D751-49C8-AC28-857380C1B216}" dt="2024-04-22T11:48:30.337" v="45" actId="207"/>
        <pc:sldMkLst>
          <pc:docMk/>
          <pc:sldMk cId="2338066774" sldId="399"/>
        </pc:sldMkLst>
        <pc:spChg chg="mod">
          <ac:chgData name="Weigel Stefan (PAR-EPS)" userId="fd3b2067-2981-4ad8-bf3a-d2e1004e4fa8" providerId="ADAL" clId="{0BE7EC3F-D751-49C8-AC28-857380C1B216}" dt="2024-04-22T11:48:22.219" v="43" actId="1037"/>
          <ac:spMkLst>
            <pc:docMk/>
            <pc:sldMk cId="2338066774" sldId="399"/>
            <ac:spMk id="7" creationId="{CE60A944-7104-442D-B06A-85C8256131F7}"/>
          </ac:spMkLst>
        </pc:spChg>
        <pc:spChg chg="mod">
          <ac:chgData name="Weigel Stefan (PAR-EPS)" userId="fd3b2067-2981-4ad8-bf3a-d2e1004e4fa8" providerId="ADAL" clId="{0BE7EC3F-D751-49C8-AC28-857380C1B216}" dt="2024-04-22T11:48:22.219" v="43" actId="1037"/>
          <ac:spMkLst>
            <pc:docMk/>
            <pc:sldMk cId="2338066774" sldId="399"/>
            <ac:spMk id="11" creationId="{84F82B92-ACCD-41AC-8B9B-F49F946956E6}"/>
          </ac:spMkLst>
        </pc:spChg>
        <pc:graphicFrameChg chg="mod">
          <ac:chgData name="Weigel Stefan (PAR-EPS)" userId="fd3b2067-2981-4ad8-bf3a-d2e1004e4fa8" providerId="ADAL" clId="{0BE7EC3F-D751-49C8-AC28-857380C1B216}" dt="2024-04-22T11:48:30.337" v="45" actId="207"/>
          <ac:graphicFrameMkLst>
            <pc:docMk/>
            <pc:sldMk cId="2338066774" sldId="399"/>
            <ac:graphicFrameMk id="6" creationId="{67E5BF1A-DCFF-4431-8721-9C385B8E6F53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95011838962335"/>
          <c:y val="0.10745262598812517"/>
          <c:w val="0.73522028368375747"/>
          <c:h val="0.7994640434541477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C$20</c:f>
              <c:strCache>
                <c:ptCount val="1"/>
                <c:pt idx="0">
                  <c:v>Uomini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  <a:ln>
              <a:noFill/>
            </a:ln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CC5-4387-A227-3B5CA15071DA}"/>
              </c:ext>
            </c:extLst>
          </c:dPt>
          <c:cat>
            <c:strRef>
              <c:f>data!$B$21:$B$31</c:f>
              <c:strCache>
                <c:ptCount val="11"/>
                <c:pt idx="0">
                  <c:v>Meno di 20 anni</c:v>
                </c:pt>
                <c:pt idx="1">
                  <c:v>Da 20 a 24 anni</c:v>
                </c:pt>
                <c:pt idx="2">
                  <c:v>Da 25 a 29 anni</c:v>
                </c:pt>
                <c:pt idx="3">
                  <c:v>Da 30 a 34 anni</c:v>
                </c:pt>
                <c:pt idx="4">
                  <c:v>Da 35 a 39 anni</c:v>
                </c:pt>
                <c:pt idx="5">
                  <c:v>Da 40 a 44 anni</c:v>
                </c:pt>
                <c:pt idx="6">
                  <c:v>Da 45 a 49 anni</c:v>
                </c:pt>
                <c:pt idx="7">
                  <c:v>Da 50 a 54 anni</c:v>
                </c:pt>
                <c:pt idx="8">
                  <c:v>Da 55 a 59 anni</c:v>
                </c:pt>
                <c:pt idx="9">
                  <c:v>Da 60 a 64 anni</c:v>
                </c:pt>
                <c:pt idx="10">
                  <c:v>65 e più anni</c:v>
                </c:pt>
              </c:strCache>
            </c:strRef>
          </c:cat>
          <c:val>
            <c:numRef>
              <c:f>data!$C$21:$C$31</c:f>
              <c:numCache>
                <c:formatCode>#,##0</c:formatCode>
                <c:ptCount val="11"/>
                <c:pt idx="0">
                  <c:v>-112</c:v>
                </c:pt>
                <c:pt idx="1">
                  <c:v>-1111</c:v>
                </c:pt>
                <c:pt idx="2">
                  <c:v>-2021</c:v>
                </c:pt>
                <c:pt idx="3">
                  <c:v>-2912</c:v>
                </c:pt>
                <c:pt idx="4">
                  <c:v>-3212</c:v>
                </c:pt>
                <c:pt idx="5">
                  <c:v>-3219</c:v>
                </c:pt>
                <c:pt idx="6">
                  <c:v>-2874</c:v>
                </c:pt>
                <c:pt idx="7">
                  <c:v>-3379</c:v>
                </c:pt>
                <c:pt idx="8">
                  <c:v>-3889</c:v>
                </c:pt>
                <c:pt idx="9">
                  <c:v>-2972</c:v>
                </c:pt>
                <c:pt idx="10">
                  <c:v>-1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CC5-4387-A227-3B5CA15071DA}"/>
            </c:ext>
          </c:extLst>
        </c:ser>
        <c:ser>
          <c:idx val="1"/>
          <c:order val="1"/>
          <c:tx>
            <c:strRef>
              <c:f>data!$D$20</c:f>
              <c:strCache>
                <c:ptCount val="1"/>
                <c:pt idx="0">
                  <c:v>Donne</c:v>
                </c:pt>
              </c:strCache>
            </c:strRef>
          </c:tx>
          <c:spPr>
            <a:solidFill>
              <a:srgbClr val="B00000"/>
            </a:solidFill>
            <a:ln>
              <a:noFill/>
            </a:ln>
          </c:spPr>
          <c:invertIfNegative val="0"/>
          <c:cat>
            <c:strRef>
              <c:f>data!$B$21:$B$31</c:f>
              <c:strCache>
                <c:ptCount val="11"/>
                <c:pt idx="0">
                  <c:v>Meno di 20 anni</c:v>
                </c:pt>
                <c:pt idx="1">
                  <c:v>Da 20 a 24 anni</c:v>
                </c:pt>
                <c:pt idx="2">
                  <c:v>Da 25 a 29 anni</c:v>
                </c:pt>
                <c:pt idx="3">
                  <c:v>Da 30 a 34 anni</c:v>
                </c:pt>
                <c:pt idx="4">
                  <c:v>Da 35 a 39 anni</c:v>
                </c:pt>
                <c:pt idx="5">
                  <c:v>Da 40 a 44 anni</c:v>
                </c:pt>
                <c:pt idx="6">
                  <c:v>Da 45 a 49 anni</c:v>
                </c:pt>
                <c:pt idx="7">
                  <c:v>Da 50 a 54 anni</c:v>
                </c:pt>
                <c:pt idx="8">
                  <c:v>Da 55 a 59 anni</c:v>
                </c:pt>
                <c:pt idx="9">
                  <c:v>Da 60 a 64 anni</c:v>
                </c:pt>
                <c:pt idx="10">
                  <c:v>65 e più anni</c:v>
                </c:pt>
              </c:strCache>
            </c:strRef>
          </c:cat>
          <c:val>
            <c:numRef>
              <c:f>data!$D$21:$D$31</c:f>
              <c:numCache>
                <c:formatCode>#,##0</c:formatCode>
                <c:ptCount val="11"/>
                <c:pt idx="0">
                  <c:v>66</c:v>
                </c:pt>
                <c:pt idx="1">
                  <c:v>393</c:v>
                </c:pt>
                <c:pt idx="2">
                  <c:v>807</c:v>
                </c:pt>
                <c:pt idx="3">
                  <c:v>962</c:v>
                </c:pt>
                <c:pt idx="4">
                  <c:v>961</c:v>
                </c:pt>
                <c:pt idx="5">
                  <c:v>852</c:v>
                </c:pt>
                <c:pt idx="6">
                  <c:v>770</c:v>
                </c:pt>
                <c:pt idx="7">
                  <c:v>793</c:v>
                </c:pt>
                <c:pt idx="8">
                  <c:v>605</c:v>
                </c:pt>
                <c:pt idx="9">
                  <c:v>307</c:v>
                </c:pt>
                <c:pt idx="10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C5-4387-A227-3B5CA15071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25733120"/>
        <c:axId val="125422208"/>
      </c:barChart>
      <c:valAx>
        <c:axId val="125422208"/>
        <c:scaling>
          <c:orientation val="minMax"/>
          <c:max val="2000"/>
          <c:min val="-50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;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5733120"/>
        <c:crossesAt val="1"/>
        <c:crossBetween val="between"/>
        <c:majorUnit val="2000"/>
      </c:valAx>
      <c:catAx>
        <c:axId val="125733120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high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1100">
                <a:solidFill>
                  <a:srgbClr val="444444"/>
                </a:solidFill>
              </a:defRPr>
            </a:pPr>
            <a:endParaRPr lang="de-DE"/>
          </a:p>
        </c:txPr>
        <c:crossAx val="125422208"/>
        <c:crosses val="max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5758</cdr:x>
      <cdr:y>0.04657</cdr:y>
    </cdr:from>
    <cdr:to>
      <cdr:x>0.61053</cdr:x>
      <cdr:y>0.10066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5576243" y="208331"/>
          <a:ext cx="529559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it-CH" sz="1100" noProof="0" dirty="0">
              <a:solidFill>
                <a:srgbClr val="444444"/>
              </a:solidFill>
            </a:rPr>
            <a:t>Uomini </a:t>
          </a:r>
          <a:endParaRPr lang="it-CH" sz="1100" noProof="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  <cdr:relSizeAnchor xmlns:cdr="http://schemas.openxmlformats.org/drawingml/2006/chartDrawing">
    <cdr:from>
      <cdr:x>0.66814</cdr:x>
      <cdr:y>0.04427</cdr:y>
    </cdr:from>
    <cdr:to>
      <cdr:x>0.71917</cdr:x>
      <cdr:y>0.09836</cdr:y>
    </cdr:to>
    <cdr:sp macro="" textlink="">
      <cdr:nvSpPr>
        <cdr:cNvPr id="3" name="Textfeld 1"/>
        <cdr:cNvSpPr txBox="1"/>
      </cdr:nvSpPr>
      <cdr:spPr>
        <a:xfrm xmlns:a="http://schemas.openxmlformats.org/drawingml/2006/main">
          <a:off x="6681931" y="198042"/>
          <a:ext cx="510323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lIns="36000" tIns="36000" rIns="36000" bIns="36000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de-CH" sz="1100" dirty="0">
              <a:solidFill>
                <a:srgbClr val="444444"/>
              </a:solidFill>
            </a:rPr>
            <a:t>Donne </a:t>
          </a:r>
          <a:endParaRPr lang="de-CH" sz="110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63235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441158"/>
          </a:xfrm>
        </p:spPr>
        <p:txBody>
          <a:bodyPr/>
          <a:lstStyle/>
          <a:p>
            <a:r>
              <a:rPr lang="it-IT" dirty="0"/>
              <a:t>Collaboratrici e collaboratori per età nel 2024.</a:t>
            </a:r>
            <a:br>
              <a:rPr lang="de-CH" dirty="0"/>
            </a:br>
            <a:endParaRPr lang="de-CH" sz="1400" dirty="0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CE60A944-7104-442D-B06A-85C8256131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638437" y="6075491"/>
            <a:ext cx="1727767" cy="170649"/>
          </a:xfrm>
        </p:spPr>
        <p:txBody>
          <a:bodyPr/>
          <a:lstStyle/>
          <a:p>
            <a:pPr algn="r"/>
            <a:r>
              <a:rPr lang="de-CH" sz="1100" kern="0" spc="0" dirty="0">
                <a:solidFill>
                  <a:srgbClr val="444444"/>
                </a:solidFill>
                <a:latin typeface="+mj-lt"/>
              </a:rPr>
              <a:t>reporting.sbb.ch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84F82B92-ACCD-41AC-8B9B-F49F946956E6}"/>
              </a:ext>
            </a:extLst>
          </p:cNvPr>
          <p:cNvSpPr txBox="1"/>
          <p:nvPr/>
        </p:nvSpPr>
        <p:spPr>
          <a:xfrm>
            <a:off x="1590121" y="6075491"/>
            <a:ext cx="6743171" cy="578428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r>
              <a:rPr lang="it-IT" sz="1100" dirty="0">
                <a:solidFill>
                  <a:srgbClr val="444444"/>
                </a:solidFill>
                <a:latin typeface="+mj-lt"/>
                <a:cs typeface="Arial" pitchFamily="34" charset="0"/>
              </a:rPr>
              <a:t>Collaboratrici e collaboratori nella media annua. FFS SA e FFS Cargo SA (Svizzera).</a:t>
            </a:r>
          </a:p>
        </p:txBody>
      </p:sp>
      <p:graphicFrame>
        <p:nvGraphicFramePr>
          <p:cNvPr id="6" name="Diagramm 5">
            <a:extLst>
              <a:ext uri="{FF2B5EF4-FFF2-40B4-BE49-F238E27FC236}">
                <a16:creationId xmlns:a16="http://schemas.microsoft.com/office/drawing/2014/main" id="{67E5BF1A-DCFF-4431-8721-9C385B8E6F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23048623"/>
              </p:ext>
            </p:extLst>
          </p:nvPr>
        </p:nvGraphicFramePr>
        <p:xfrm>
          <a:off x="703716" y="1402252"/>
          <a:ext cx="10000795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380667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openxmlformats.org/package/2006/metadata/core-properties"/>
    <ds:schemaRef ds:uri="96e82a89-ba48-4728-b345-cf206dbec8f1"/>
    <ds:schemaRef ds:uri="http://purl.org/dc/elements/1.1/"/>
    <ds:schemaRef ds:uri="http://schemas.microsoft.com/office/2006/metadata/properties"/>
    <ds:schemaRef ds:uri="http://purl.org/dc/terms/"/>
    <ds:schemaRef ds:uri="http://schemas.microsoft.com/office/infopath/2007/PartnerControls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95CC7860-0070-4B08-A7D0-51E3EA6D44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6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Collaboratrici e collaboratori per età nel 2024. 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llaboratrici e collaboratori per età nel 2024._x000b_</dc:title>
  <dc:creator>Meyer Raphael (KOM-PGA-VSF)</dc:creator>
  <cp:lastModifiedBy>Stefan Weigel (PAR-EPS)</cp:lastModifiedBy>
  <cp:revision>55</cp:revision>
  <dcterms:created xsi:type="dcterms:W3CDTF">2020-09-30T11:00:09Z</dcterms:created>
  <dcterms:modified xsi:type="dcterms:W3CDTF">2025-02-24T12:59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